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7" r:id="rId31"/>
    <p:sldId id="383" r:id="rId32"/>
    <p:sldId id="384" r:id="rId33"/>
    <p:sldId id="385" r:id="rId34"/>
    <p:sldId id="386" r:id="rId35"/>
    <p:sldId id="401" r:id="rId36"/>
    <p:sldId id="396" r:id="rId37"/>
    <p:sldId id="357" r:id="rId38"/>
    <p:sldId id="390" r:id="rId39"/>
    <p:sldId id="361" r:id="rId40"/>
    <p:sldId id="362" r:id="rId41"/>
    <p:sldId id="367" r:id="rId42"/>
    <p:sldId id="368" r:id="rId43"/>
    <p:sldId id="369" r:id="rId44"/>
    <p:sldId id="370" r:id="rId45"/>
    <p:sldId id="391" r:id="rId46"/>
    <p:sldId id="371" r:id="rId47"/>
    <p:sldId id="339" r:id="rId48"/>
    <p:sldId id="395" r:id="rId49"/>
    <p:sldId id="403" r:id="rId50"/>
    <p:sldId id="382" r:id="rId51"/>
    <p:sldId id="338" r:id="rId52"/>
    <p:sldId id="372" r:id="rId53"/>
    <p:sldId id="373" r:id="rId54"/>
    <p:sldId id="381" r:id="rId55"/>
    <p:sldId id="375" r:id="rId56"/>
    <p:sldId id="376" r:id="rId57"/>
    <p:sldId id="377" r:id="rId58"/>
    <p:sldId id="378" r:id="rId59"/>
    <p:sldId id="379" r:id="rId60"/>
    <p:sldId id="380" r:id="rId6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ableStyles" Target="tableStyle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9</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4</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5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7"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7" Type="http://schemas.openxmlformats.org/officeDocument/2006/relationships/image" Target="../media/image40.gif"/><Relationship Id="rId2" Type="http://schemas.openxmlformats.org/officeDocument/2006/relationships/notesSlide" Target="../notesSlides/notesSlide20.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83.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3.xml"/><Relationship Id="rId5" Type="http://schemas.openxmlformats.org/officeDocument/2006/relationships/image" Target="../media/image88.png"/><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g"/><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2.png"/></Relationships>
</file>

<file path=ppt/slides/_rels/slide4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4.png"/><Relationship Id="rId4" Type="http://schemas.openxmlformats.org/officeDocument/2006/relationships/hyperlink" Target="http://cds-hooks.org/"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9.xml"/><Relationship Id="rId1" Type="http://schemas.openxmlformats.org/officeDocument/2006/relationships/slideLayout" Target="../slideLayouts/slideLayout55.xml"/><Relationship Id="rId5" Type="http://schemas.openxmlformats.org/officeDocument/2006/relationships/image" Target="../media/image99.png"/><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tiff"/><Relationship Id="rId1" Type="http://schemas.openxmlformats.org/officeDocument/2006/relationships/slideLayout" Target="../slideLayouts/slideLayout18.xml"/><Relationship Id="rId4" Type="http://schemas.openxmlformats.org/officeDocument/2006/relationships/image" Target="../media/image105.emf"/></Relationships>
</file>

<file path=ppt/slides/_rels/slide5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5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12.xml"/><Relationship Id="rId6" Type="http://schemas.openxmlformats.org/officeDocument/2006/relationships/image" Target="../media/image115.jpeg"/><Relationship Id="rId5" Type="http://schemas.openxmlformats.org/officeDocument/2006/relationships/image" Target="../media/image114.emf"/><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6</TotalTime>
  <Words>2922</Words>
  <Application>Microsoft Macintosh PowerPoint</Application>
  <PresentationFormat>Widescreen</PresentationFormat>
  <Paragraphs>569</Paragraphs>
  <Slides>59</Slides>
  <Notes>31</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4" baseType="lpstr">
      <vt:lpstr>ＭＳ Ｐゴシック</vt:lpstr>
      <vt:lpstr>ＭＳ Ｐゴシック</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87</cp:revision>
  <cp:lastPrinted>2016-11-14T17:42:56Z</cp:lastPrinted>
  <dcterms:created xsi:type="dcterms:W3CDTF">2016-10-20T03:15:38Z</dcterms:created>
  <dcterms:modified xsi:type="dcterms:W3CDTF">2018-06-20T09:59:10Z</dcterms:modified>
</cp:coreProperties>
</file>